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5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A5A5A"/>
    <a:srgbClr val="444444"/>
    <a:srgbClr val="F6F6F6"/>
    <a:srgbClr val="E5E5E5"/>
    <a:srgbClr val="A8A8A8"/>
    <a:srgbClr val="8D8D8D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9" d="100"/>
          <a:sy n="119" d="100"/>
        </p:scale>
        <p:origin x="156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7F690019-1E7A-4320-B6E8-C125EAC36600}"/>
    <pc:docChg chg="modSld">
      <pc:chgData name="Meyer Raphael (PAR-ES)" userId="79615dfe-ed48-4e74-a40f-4f7b034c1c27" providerId="ADAL" clId="{7F690019-1E7A-4320-B6E8-C125EAC36600}" dt="2022-03-09T16:25:09.230" v="0" actId="692"/>
      <pc:docMkLst>
        <pc:docMk/>
      </pc:docMkLst>
      <pc:sldChg chg="modSp">
        <pc:chgData name="Meyer Raphael (PAR-ES)" userId="79615dfe-ed48-4e74-a40f-4f7b034c1c27" providerId="ADAL" clId="{7F690019-1E7A-4320-B6E8-C125EAC36600}" dt="2022-03-09T16:25:09.230" v="0" actId="692"/>
        <pc:sldMkLst>
          <pc:docMk/>
          <pc:sldMk cId="2543225151" sldId="405"/>
        </pc:sldMkLst>
        <pc:graphicFrameChg chg="mod">
          <ac:chgData name="Meyer Raphael (PAR-ES)" userId="79615dfe-ed48-4e74-a40f-4f7b034c1c27" providerId="ADAL" clId="{7F690019-1E7A-4320-B6E8-C125EAC36600}" dt="2022-03-09T16:25:09.230" v="0" actId="692"/>
          <ac:graphicFrameMkLst>
            <pc:docMk/>
            <pc:sldMk cId="2543225151" sldId="405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Weigel Stefan (PAR-EPS)" userId="fd3b2067-2981-4ad8-bf3a-d2e1004e4fa8" providerId="ADAL" clId="{6DC46216-0C43-43E9-842A-1C620F326D3C}"/>
    <pc:docChg chg="modSld">
      <pc:chgData name="Weigel Stefan (PAR-EPS)" userId="fd3b2067-2981-4ad8-bf3a-d2e1004e4fa8" providerId="ADAL" clId="{6DC46216-0C43-43E9-842A-1C620F326D3C}" dt="2024-02-28T08:51:56.717" v="50" actId="554"/>
      <pc:docMkLst>
        <pc:docMk/>
      </pc:docMkLst>
      <pc:sldChg chg="modSp mod">
        <pc:chgData name="Weigel Stefan (PAR-EPS)" userId="fd3b2067-2981-4ad8-bf3a-d2e1004e4fa8" providerId="ADAL" clId="{6DC46216-0C43-43E9-842A-1C620F326D3C}" dt="2024-02-28T08:51:56.717" v="50" actId="554"/>
        <pc:sldMkLst>
          <pc:docMk/>
          <pc:sldMk cId="2543225151" sldId="405"/>
        </pc:sldMkLst>
        <pc:spChg chg="mod">
          <ac:chgData name="Weigel Stefan (PAR-EPS)" userId="fd3b2067-2981-4ad8-bf3a-d2e1004e4fa8" providerId="ADAL" clId="{6DC46216-0C43-43E9-842A-1C620F326D3C}" dt="2024-02-28T08:51:56.717" v="50" actId="554"/>
          <ac:spMkLst>
            <pc:docMk/>
            <pc:sldMk cId="2543225151" sldId="405"/>
            <ac:spMk id="5" creationId="{00000000-0000-0000-0000-000000000000}"/>
          </ac:spMkLst>
        </pc:spChg>
        <pc:spChg chg="mod">
          <ac:chgData name="Weigel Stefan (PAR-EPS)" userId="fd3b2067-2981-4ad8-bf3a-d2e1004e4fa8" providerId="ADAL" clId="{6DC46216-0C43-43E9-842A-1C620F326D3C}" dt="2024-02-28T08:51:56.717" v="50" actId="554"/>
          <ac:spMkLst>
            <pc:docMk/>
            <pc:sldMk cId="2543225151" sldId="405"/>
            <ac:spMk id="7" creationId="{3D334280-6DD2-4055-8D55-795F939CC5BB}"/>
          </ac:spMkLst>
        </pc:spChg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Weigel Stefan (PAR-ES)" userId="fd3b2067-2981-4ad8-bf3a-d2e1004e4fa8" providerId="ADAL" clId="{13149D6F-E9AD-4CF4-AC96-412CEC4FA8FC}"/>
    <pc:docChg chg="modSld">
      <pc:chgData name="Weigel Stefan (PAR-ES)" userId="fd3b2067-2981-4ad8-bf3a-d2e1004e4fa8" providerId="ADAL" clId="{13149D6F-E9AD-4CF4-AC96-412CEC4FA8FC}" dt="2023-01-17T12:22:45.521" v="7"/>
      <pc:docMkLst>
        <pc:docMk/>
      </pc:docMkLst>
      <pc:sldChg chg="modSp mod">
        <pc:chgData name="Weigel Stefan (PAR-ES)" userId="fd3b2067-2981-4ad8-bf3a-d2e1004e4fa8" providerId="ADAL" clId="{13149D6F-E9AD-4CF4-AC96-412CEC4FA8FC}" dt="2023-01-17T12:22:45.521" v="7"/>
        <pc:sldMkLst>
          <pc:docMk/>
          <pc:sldMk cId="2543225151" sldId="405"/>
        </pc:sldMkLst>
        <pc:graphicFrameChg chg="mod">
          <ac:chgData name="Weigel Stefan (PAR-ES)" userId="fd3b2067-2981-4ad8-bf3a-d2e1004e4fa8" providerId="ADAL" clId="{13149D6F-E9AD-4CF4-AC96-412CEC4FA8FC}" dt="2023-01-17T12:22:45.521" v="7"/>
          <ac:graphicFrameMkLst>
            <pc:docMk/>
            <pc:sldMk cId="2543225151" sldId="405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Weigel Stefan (PAR-EPS)" userId="fd3b2067-2981-4ad8-bf3a-d2e1004e4fa8" providerId="ADAL" clId="{8B366CC6-7EFF-468D-AD20-42F6B0325E30}"/>
    <pc:docChg chg="modSld">
      <pc:chgData name="Weigel Stefan (PAR-EPS)" userId="fd3b2067-2981-4ad8-bf3a-d2e1004e4fa8" providerId="ADAL" clId="{8B366CC6-7EFF-468D-AD20-42F6B0325E30}" dt="2024-02-28T09:25:35.579" v="7" actId="27918"/>
      <pc:docMkLst>
        <pc:docMk/>
      </pc:docMkLst>
      <pc:sldChg chg="modSp mod">
        <pc:chgData name="Weigel Stefan (PAR-EPS)" userId="fd3b2067-2981-4ad8-bf3a-d2e1004e4fa8" providerId="ADAL" clId="{8B366CC6-7EFF-468D-AD20-42F6B0325E30}" dt="2024-02-28T09:25:35.579" v="7" actId="27918"/>
        <pc:sldMkLst>
          <pc:docMk/>
          <pc:sldMk cId="2543225151" sldId="405"/>
        </pc:sldMkLst>
        <pc:spChg chg="mod">
          <ac:chgData name="Weigel Stefan (PAR-EPS)" userId="fd3b2067-2981-4ad8-bf3a-d2e1004e4fa8" providerId="ADAL" clId="{8B366CC6-7EFF-468D-AD20-42F6B0325E30}" dt="2024-02-28T08:54:26.230" v="0"/>
          <ac:spMkLst>
            <pc:docMk/>
            <pc:sldMk cId="2543225151" sldId="405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8B366CC6-7EFF-468D-AD20-42F6B0325E30}" dt="2024-02-28T08:54:32.461" v="1"/>
          <ac:spMkLst>
            <pc:docMk/>
            <pc:sldMk cId="2543225151" sldId="405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126115A6-EE2C-42F4-80F2-C3FDBE62DE3A}"/>
    <pc:docChg chg="undo custSel addSld delSld modSld">
      <pc:chgData name="Meyer Raphael (PAR-ES)" userId="79615dfe-ed48-4e74-a40f-4f7b034c1c27" providerId="ADAL" clId="{126115A6-EE2C-42F4-80F2-C3FDBE62DE3A}" dt="2022-02-21T14:53:15.219" v="74" actId="27918"/>
      <pc:docMkLst>
        <pc:docMk/>
      </pc:docMkLst>
      <pc:sldChg chg="del">
        <pc:chgData name="Meyer Raphael (PAR-ES)" userId="79615dfe-ed48-4e74-a40f-4f7b034c1c27" providerId="ADAL" clId="{126115A6-EE2C-42F4-80F2-C3FDBE62DE3A}" dt="2022-02-21T13:59:02.439" v="0" actId="47"/>
        <pc:sldMkLst>
          <pc:docMk/>
          <pc:sldMk cId="2102945685" sldId="404"/>
        </pc:sldMkLst>
      </pc:sldChg>
      <pc:sldChg chg="mod">
        <pc:chgData name="Meyer Raphael (PAR-ES)" userId="79615dfe-ed48-4e74-a40f-4f7b034c1c27" providerId="ADAL" clId="{126115A6-EE2C-42F4-80F2-C3FDBE62DE3A}" dt="2022-02-21T14:37:03.411" v="8" actId="27918"/>
        <pc:sldMkLst>
          <pc:docMk/>
          <pc:sldMk cId="2543225151" sldId="405"/>
        </pc:sldMkLst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2376358569" sldId="406"/>
        </pc:sldMkLst>
      </pc:sldChg>
      <pc:sldChg chg="modSp add mod">
        <pc:chgData name="Meyer Raphael (PAR-ES)" userId="79615dfe-ed48-4e74-a40f-4f7b034c1c27" providerId="ADAL" clId="{126115A6-EE2C-42F4-80F2-C3FDBE62DE3A}" dt="2022-02-21T14:48:18.104" v="38"/>
        <pc:sldMkLst>
          <pc:docMk/>
          <pc:sldMk cId="4261143356" sldId="406"/>
        </pc:sldMkLst>
        <pc:spChg chg="mod">
          <ac:chgData name="Meyer Raphael (PAR-ES)" userId="79615dfe-ed48-4e74-a40f-4f7b034c1c27" providerId="ADAL" clId="{126115A6-EE2C-42F4-80F2-C3FDBE62DE3A}" dt="2022-02-21T14:48:18.104" v="38"/>
          <ac:spMkLst>
            <pc:docMk/>
            <pc:sldMk cId="4261143356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8:12.965" v="35"/>
          <ac:spMkLst>
            <pc:docMk/>
            <pc:sldMk cId="4261143356" sldId="406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8:16.069" v="37" actId="20577"/>
          <ac:spMkLst>
            <pc:docMk/>
            <pc:sldMk cId="4261143356" sldId="406"/>
            <ac:spMk id="7" creationId="{3D334280-6DD2-4055-8D55-795F939CC5BB}"/>
          </ac:spMkLst>
        </pc:spChg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1339098343" sldId="407"/>
        </pc:sldMkLst>
      </pc:sldChg>
      <pc:sldChg chg="modSp add mod">
        <pc:chgData name="Meyer Raphael (PAR-ES)" userId="79615dfe-ed48-4e74-a40f-4f7b034c1c27" providerId="ADAL" clId="{126115A6-EE2C-42F4-80F2-C3FDBE62DE3A}" dt="2022-02-21T14:50:28.562" v="56" actId="27918"/>
        <pc:sldMkLst>
          <pc:docMk/>
          <pc:sldMk cId="3254712261" sldId="407"/>
        </pc:sldMkLst>
        <pc:spChg chg="mod">
          <ac:chgData name="Meyer Raphael (PAR-ES)" userId="79615dfe-ed48-4e74-a40f-4f7b034c1c27" providerId="ADAL" clId="{126115A6-EE2C-42F4-80F2-C3FDBE62DE3A}" dt="2022-02-21T14:48:31.731" v="39"/>
          <ac:spMkLst>
            <pc:docMk/>
            <pc:sldMk cId="3254712261" sldId="40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9:14.430" v="41" actId="207"/>
          <ac:spMkLst>
            <pc:docMk/>
            <pc:sldMk cId="3254712261" sldId="407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49:20.951" v="47" actId="20577"/>
          <ac:spMkLst>
            <pc:docMk/>
            <pc:sldMk cId="3254712261" sldId="407"/>
            <ac:spMk id="7" creationId="{3D334280-6DD2-4055-8D55-795F939CC5BB}"/>
          </ac:spMkLst>
        </pc:spChg>
      </pc:sldChg>
      <pc:sldChg chg="modSp add mod">
        <pc:chgData name="Meyer Raphael (PAR-ES)" userId="79615dfe-ed48-4e74-a40f-4f7b034c1c27" providerId="ADAL" clId="{126115A6-EE2C-42F4-80F2-C3FDBE62DE3A}" dt="2022-02-21T14:53:15.219" v="74" actId="27918"/>
        <pc:sldMkLst>
          <pc:docMk/>
          <pc:sldMk cId="143704109" sldId="408"/>
        </pc:sldMkLst>
        <pc:spChg chg="mod">
          <ac:chgData name="Meyer Raphael (PAR-ES)" userId="79615dfe-ed48-4e74-a40f-4f7b034c1c27" providerId="ADAL" clId="{126115A6-EE2C-42F4-80F2-C3FDBE62DE3A}" dt="2022-02-21T14:51:58.455" v="57"/>
          <ac:spMkLst>
            <pc:docMk/>
            <pc:sldMk cId="143704109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52:28.557" v="59" actId="207"/>
          <ac:spMkLst>
            <pc:docMk/>
            <pc:sldMk cId="143704109" sldId="408"/>
            <ac:spMk id="5" creationId="{00000000-0000-0000-0000-000000000000}"/>
          </ac:spMkLst>
        </pc:spChg>
        <pc:spChg chg="mod">
          <ac:chgData name="Meyer Raphael (PAR-ES)" userId="79615dfe-ed48-4e74-a40f-4f7b034c1c27" providerId="ADAL" clId="{126115A6-EE2C-42F4-80F2-C3FDBE62DE3A}" dt="2022-02-21T14:52:32.418" v="65" actId="20577"/>
          <ac:spMkLst>
            <pc:docMk/>
            <pc:sldMk cId="143704109" sldId="408"/>
            <ac:spMk id="7" creationId="{3D334280-6DD2-4055-8D55-795F939CC5BB}"/>
          </ac:spMkLst>
        </pc:spChg>
      </pc:sldChg>
      <pc:sldChg chg="add del">
        <pc:chgData name="Meyer Raphael (PAR-ES)" userId="79615dfe-ed48-4e74-a40f-4f7b034c1c27" providerId="ADAL" clId="{126115A6-EE2C-42F4-80F2-C3FDBE62DE3A}" dt="2022-02-21T14:00:01.882" v="4" actId="47"/>
        <pc:sldMkLst>
          <pc:docMk/>
          <pc:sldMk cId="420826471" sldId="408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327EBCB-07DD-4905-80C5-E5F8D666D7A4}"/>
    <pc:docChg chg="modSld">
      <pc:chgData name="Meyer Raphael (PAR-ES)" userId="79615dfe-ed48-4e74-a40f-4f7b034c1c27" providerId="ADAL" clId="{E327EBCB-07DD-4905-80C5-E5F8D666D7A4}" dt="2023-03-10T14:58:20.822" v="0" actId="6549"/>
      <pc:docMkLst>
        <pc:docMk/>
      </pc:docMkLst>
      <pc:sldChg chg="modSp mod">
        <pc:chgData name="Meyer Raphael (PAR-ES)" userId="79615dfe-ed48-4e74-a40f-4f7b034c1c27" providerId="ADAL" clId="{E327EBCB-07DD-4905-80C5-E5F8D666D7A4}" dt="2023-03-10T14:58:20.822" v="0" actId="6549"/>
        <pc:sldMkLst>
          <pc:docMk/>
          <pc:sldMk cId="2543225151" sldId="405"/>
        </pc:sldMkLst>
        <pc:spChg chg="mod">
          <ac:chgData name="Meyer Raphael (PAR-ES)" userId="79615dfe-ed48-4e74-a40f-4f7b034c1c27" providerId="ADAL" clId="{E327EBCB-07DD-4905-80C5-E5F8D666D7A4}" dt="2023-03-10T14:58:20.822" v="0" actId="6549"/>
          <ac:spMkLst>
            <pc:docMk/>
            <pc:sldMk cId="2543225151" sldId="405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99DE5D04-CC78-492F-B01A-941F2BAD345A}"/>
    <pc:docChg chg="delSld">
      <pc:chgData name="Meyer Raphael (PAR-ES)" userId="79615dfe-ed48-4e74-a40f-4f7b034c1c27" providerId="ADAL" clId="{99DE5D04-CC78-492F-B01A-941F2BAD345A}" dt="2022-02-21T14:59:43.954" v="0" actId="47"/>
      <pc:docMkLst>
        <pc:docMk/>
      </pc:docMkLst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4261143356" sldId="406"/>
        </pc:sldMkLst>
      </pc:sldChg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3254712261" sldId="407"/>
        </pc:sldMkLst>
      </pc:sldChg>
      <pc:sldChg chg="del">
        <pc:chgData name="Meyer Raphael (PAR-ES)" userId="79615dfe-ed48-4e74-a40f-4f7b034c1c27" providerId="ADAL" clId="{99DE5D04-CC78-492F-B01A-941F2BAD345A}" dt="2022-02-21T14:59:43.954" v="0" actId="47"/>
        <pc:sldMkLst>
          <pc:docMk/>
          <pc:sldMk cId="143704109" sldId="408"/>
        </pc:sldMkLst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6908993317673928E-2"/>
          <c:y val="8.0370869853826174E-2"/>
          <c:w val="0.81131701407868118"/>
          <c:h val="0.7473885747673962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data!$C$9</c:f>
              <c:strCache>
                <c:ptCount val="1"/>
                <c:pt idx="0">
                  <c:v>Mercato Viaggiatori e Produzione Viaggiatori</c:v>
                </c:pt>
              </c:strCache>
            </c:strRef>
          </c:tx>
          <c:spPr>
            <a:solidFill>
              <a:srgbClr val="E5E5E5"/>
            </a:solidFill>
          </c:spPr>
          <c:invertIfNegative val="0"/>
          <c:dPt>
            <c:idx val="10"/>
            <c:invertIfNegative val="0"/>
            <c:bubble3D val="0"/>
            <c:spPr>
              <a:solidFill>
                <a:srgbClr val="E5E5E5"/>
              </a:solidFill>
            </c:spPr>
            <c:extLst>
              <c:ext xmlns:c16="http://schemas.microsoft.com/office/drawing/2014/chart" uri="{C3380CC4-5D6E-409C-BE32-E72D297353CC}">
                <c16:uniqueId val="{00000001-B853-422A-9B9D-A6EAA6FFB23D}"/>
              </c:ext>
            </c:extLst>
          </c:dPt>
          <c:cat>
            <c:numRef>
              <c:f>data!$B$10:$B$20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C$10:$C$20</c:f>
              <c:numCache>
                <c:formatCode>#,##0.000</c:formatCode>
                <c:ptCount val="11"/>
                <c:pt idx="0">
                  <c:v>1.01587939776</c:v>
                </c:pt>
                <c:pt idx="1">
                  <c:v>0.84821249399999998</c:v>
                </c:pt>
                <c:pt idx="2">
                  <c:v>0.8283368277230001</c:v>
                </c:pt>
                <c:pt idx="3">
                  <c:v>0.57791295489000005</c:v>
                </c:pt>
                <c:pt idx="4">
                  <c:v>0.72153651090999993</c:v>
                </c:pt>
                <c:pt idx="5">
                  <c:v>0.75046792439999999</c:v>
                </c:pt>
                <c:pt idx="6">
                  <c:v>0.89454509217</c:v>
                </c:pt>
                <c:pt idx="7">
                  <c:v>1.1871844599050101</c:v>
                </c:pt>
                <c:pt idx="8">
                  <c:v>0.93675952575999999</c:v>
                </c:pt>
                <c:pt idx="9">
                  <c:v>0.80510579250657099</c:v>
                </c:pt>
                <c:pt idx="10">
                  <c:v>0.68115935371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53-422A-9B9D-A6EAA6FFB23D}"/>
            </c:ext>
          </c:extLst>
        </c:ser>
        <c:ser>
          <c:idx val="1"/>
          <c:order val="1"/>
          <c:tx>
            <c:strRef>
              <c:f>data!$D$9</c:f>
              <c:strCache>
                <c:ptCount val="1"/>
                <c:pt idx="0">
                  <c:v>Immobili</c:v>
                </c:pt>
              </c:strCache>
            </c:strRef>
          </c:tx>
          <c:spPr>
            <a:solidFill>
              <a:srgbClr val="A8A8A8"/>
            </a:solidFill>
          </c:spPr>
          <c:invertIfNegative val="0"/>
          <c:cat>
            <c:numRef>
              <c:f>data!$B$10:$B$20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D$10:$D$20</c:f>
              <c:numCache>
                <c:formatCode>#,##0.000</c:formatCode>
                <c:ptCount val="11"/>
                <c:pt idx="0">
                  <c:v>0.46944028363000001</c:v>
                </c:pt>
                <c:pt idx="1">
                  <c:v>0.45806077000000001</c:v>
                </c:pt>
                <c:pt idx="2">
                  <c:v>0.55061685219000001</c:v>
                </c:pt>
                <c:pt idx="3">
                  <c:v>0.55449757157000001</c:v>
                </c:pt>
                <c:pt idx="4">
                  <c:v>0.68340522972999995</c:v>
                </c:pt>
                <c:pt idx="5">
                  <c:v>0.61872345032999998</c:v>
                </c:pt>
                <c:pt idx="6">
                  <c:v>0.58587582732999999</c:v>
                </c:pt>
                <c:pt idx="7">
                  <c:v>0.46327612801000001</c:v>
                </c:pt>
                <c:pt idx="8">
                  <c:v>0.41223381136000004</c:v>
                </c:pt>
                <c:pt idx="9">
                  <c:v>0.50162527670000001</c:v>
                </c:pt>
                <c:pt idx="10">
                  <c:v>0.57835182270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853-422A-9B9D-A6EAA6FFB23D}"/>
            </c:ext>
          </c:extLst>
        </c:ser>
        <c:ser>
          <c:idx val="2"/>
          <c:order val="2"/>
          <c:tx>
            <c:strRef>
              <c:f>data!$E$9</c:f>
              <c:strCache>
                <c:ptCount val="1"/>
                <c:pt idx="0">
                  <c:v>Traffico merci</c:v>
                </c:pt>
              </c:strCache>
            </c:strRef>
          </c:tx>
          <c:spPr>
            <a:solidFill>
              <a:srgbClr val="BDBDBD"/>
            </a:solidFill>
          </c:spPr>
          <c:invertIfNegative val="0"/>
          <c:cat>
            <c:numRef>
              <c:f>data!$B$10:$B$20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E$10:$E$20</c:f>
              <c:numCache>
                <c:formatCode>#,##0.000</c:formatCode>
                <c:ptCount val="11"/>
                <c:pt idx="0">
                  <c:v>3.1454666549999996E-2</c:v>
                </c:pt>
                <c:pt idx="1">
                  <c:v>1.5886504370000002E-2</c:v>
                </c:pt>
                <c:pt idx="2">
                  <c:v>2.7714453720000001E-2</c:v>
                </c:pt>
                <c:pt idx="3">
                  <c:v>1.8395506739999998E-2</c:v>
                </c:pt>
                <c:pt idx="4">
                  <c:v>3.0482708840000001E-2</c:v>
                </c:pt>
                <c:pt idx="5">
                  <c:v>3.3709855660000003E-2</c:v>
                </c:pt>
                <c:pt idx="6">
                  <c:v>3.41360847E-2</c:v>
                </c:pt>
                <c:pt idx="7">
                  <c:v>3.7950270030480501E-2</c:v>
                </c:pt>
                <c:pt idx="8">
                  <c:v>3.1848191114242905E-2</c:v>
                </c:pt>
                <c:pt idx="9">
                  <c:v>1.7805723632602698E-2</c:v>
                </c:pt>
                <c:pt idx="10">
                  <c:v>2.365666770765020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853-422A-9B9D-A6EAA6FFB23D}"/>
            </c:ext>
          </c:extLst>
        </c:ser>
        <c:ser>
          <c:idx val="3"/>
          <c:order val="3"/>
          <c:tx>
            <c:strRef>
              <c:f>data!$F$9</c:f>
              <c:strCache>
                <c:ptCount val="1"/>
                <c:pt idx="0">
                  <c:v>Infrastruttura</c:v>
                </c:pt>
              </c:strCache>
            </c:strRef>
          </c:tx>
          <c:spPr>
            <a:solidFill>
              <a:srgbClr val="8D8D8D"/>
            </a:solidFill>
          </c:spPr>
          <c:invertIfNegative val="0"/>
          <c:cat>
            <c:numRef>
              <c:f>data!$B$10:$B$20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F$10:$F$20</c:f>
              <c:numCache>
                <c:formatCode>#,##0.000</c:formatCode>
                <c:ptCount val="11"/>
                <c:pt idx="0">
                  <c:v>2.0058902696100001</c:v>
                </c:pt>
                <c:pt idx="1">
                  <c:v>2.0842433488999998</c:v>
                </c:pt>
                <c:pt idx="2">
                  <c:v>2.1402772349300001</c:v>
                </c:pt>
                <c:pt idx="3">
                  <c:v>5.7711939926399998</c:v>
                </c:pt>
                <c:pt idx="4">
                  <c:v>2.0749476292</c:v>
                </c:pt>
                <c:pt idx="5">
                  <c:v>2.1382653223300001</c:v>
                </c:pt>
                <c:pt idx="6">
                  <c:v>2.9930333324100005</c:v>
                </c:pt>
                <c:pt idx="7">
                  <c:v>3.6330772980699999</c:v>
                </c:pt>
                <c:pt idx="8">
                  <c:v>2.0585050420300002</c:v>
                </c:pt>
                <c:pt idx="9">
                  <c:v>3.0301850943600002</c:v>
                </c:pt>
                <c:pt idx="10">
                  <c:v>2.3693862095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B853-422A-9B9D-A6EAA6FFB23D}"/>
            </c:ext>
          </c:extLst>
        </c:ser>
        <c:ser>
          <c:idx val="4"/>
          <c:order val="4"/>
          <c:tx>
            <c:strRef>
              <c:f>data!$G$9</c:f>
              <c:strCache>
                <c:ptCount val="1"/>
                <c:pt idx="0">
                  <c:v>Settori centrali</c:v>
                </c:pt>
              </c:strCache>
            </c:strRef>
          </c:tx>
          <c:spPr>
            <a:solidFill>
              <a:srgbClr val="5A5A5A"/>
            </a:solidFill>
          </c:spPr>
          <c:invertIfNegative val="0"/>
          <c:cat>
            <c:numRef>
              <c:f>data!$B$10:$B$20</c:f>
              <c:numCache>
                <c:formatCode>General</c:formatCode>
                <c:ptCount val="11"/>
                <c:pt idx="0">
                  <c:v>2013</c:v>
                </c:pt>
                <c:pt idx="1">
                  <c:v>2014</c:v>
                </c:pt>
                <c:pt idx="2">
                  <c:v>2015</c:v>
                </c:pt>
                <c:pt idx="3">
                  <c:v>2016</c:v>
                </c:pt>
                <c:pt idx="4">
                  <c:v>2017</c:v>
                </c:pt>
                <c:pt idx="5">
                  <c:v>2018</c:v>
                </c:pt>
                <c:pt idx="6">
                  <c:v>2019</c:v>
                </c:pt>
                <c:pt idx="7">
                  <c:v>2020</c:v>
                </c:pt>
                <c:pt idx="8">
                  <c:v>2021</c:v>
                </c:pt>
                <c:pt idx="9">
                  <c:v>2022</c:v>
                </c:pt>
                <c:pt idx="10">
                  <c:v>2023</c:v>
                </c:pt>
              </c:numCache>
            </c:numRef>
          </c:cat>
          <c:val>
            <c:numRef>
              <c:f>data!$G$10:$G$20</c:f>
              <c:numCache>
                <c:formatCode>#,##0.000</c:formatCode>
                <c:ptCount val="11"/>
                <c:pt idx="0">
                  <c:v>3.9503450960000006E-2</c:v>
                </c:pt>
                <c:pt idx="1">
                  <c:v>5.6085001286000004E-2</c:v>
                </c:pt>
                <c:pt idx="2">
                  <c:v>4.939953129E-2</c:v>
                </c:pt>
                <c:pt idx="3">
                  <c:v>3.3320021060000003E-2</c:v>
                </c:pt>
                <c:pt idx="4">
                  <c:v>2.878219374E-2</c:v>
                </c:pt>
                <c:pt idx="5">
                  <c:v>2.2944197750000003E-2</c:v>
                </c:pt>
                <c:pt idx="6">
                  <c:v>2.6484992200000002E-2</c:v>
                </c:pt>
                <c:pt idx="7">
                  <c:v>2.0499518179999999E-2</c:v>
                </c:pt>
                <c:pt idx="8">
                  <c:v>3.0299639320000002E-2</c:v>
                </c:pt>
                <c:pt idx="9">
                  <c:v>3.7238405299999999E-2</c:v>
                </c:pt>
                <c:pt idx="10">
                  <c:v>4.3917000669999998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B853-422A-9B9D-A6EAA6FFB2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96041216"/>
        <c:axId val="96043008"/>
      </c:barChart>
      <c:catAx>
        <c:axId val="96041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/>
            </a:pPr>
            <a:endParaRPr lang="de-DE"/>
          </a:p>
        </c:txPr>
        <c:crossAx val="96043008"/>
        <c:crosses val="autoZero"/>
        <c:auto val="1"/>
        <c:lblAlgn val="ctr"/>
        <c:lblOffset val="100"/>
        <c:noMultiLvlLbl val="0"/>
      </c:catAx>
      <c:valAx>
        <c:axId val="96043008"/>
        <c:scaling>
          <c:orientation val="minMax"/>
          <c:max val="8"/>
          <c:min val="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crossAx val="96041216"/>
        <c:crosses val="autoZero"/>
        <c:crossBetween val="between"/>
        <c:majorUnit val="2"/>
      </c:valAx>
    </c:plotArea>
    <c:legend>
      <c:legendPos val="b"/>
      <c:layout>
        <c:manualLayout>
          <c:xMode val="edge"/>
          <c:yMode val="edge"/>
          <c:x val="7.0197712152772651E-2"/>
          <c:y val="0.95380044170049172"/>
          <c:w val="0.82513027334997757"/>
          <c:h val="4.5279788943638502E-2"/>
        </c:manualLayout>
      </c:layout>
      <c:overlay val="0"/>
    </c:legend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.02239</cdr:y>
    </cdr:from>
    <cdr:to>
      <cdr:x>0.06036</cdr:x>
      <cdr:y>0.07357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0" y="99133"/>
          <a:ext cx="612916" cy="226591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1000" dirty="0"/>
            <a:t>Mrd. CHF</a:t>
          </a:r>
          <a:endParaRPr lang="de-CH" sz="100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2.xml"/><Relationship Id="rId1" Type="http://schemas.openxmlformats.org/officeDocument/2006/relationships/tags" Target="../tags/tag4.xml"/><Relationship Id="rId6" Type="http://schemas.openxmlformats.org/officeDocument/2006/relationships/chart" Target="../charts/chart1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316274F-10EE-42B8-9812-7995639350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59" progId="TCLayout.ActiveDocument.1">
                  <p:embed/>
                </p:oleObj>
              </mc:Choice>
              <mc:Fallback>
                <p:oleObj name="think-cell Folie" r:id="rId4" imgW="360" imgH="35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316274F-10EE-42B8-9812-799563935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Incrementi di immobilizzi iscritti a bilancio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1156919418"/>
              </p:ext>
            </p:extLst>
          </p:nvPr>
        </p:nvGraphicFramePr>
        <p:xfrm>
          <a:off x="1487488" y="1881188"/>
          <a:ext cx="10153650" cy="3994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2215608" y="6101349"/>
            <a:ext cx="6921695" cy="5400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0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Incrementi di immobilizzi materiali e immateriali attivabili iscritti a bilancio.</a:t>
            </a: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3D334280-6DD2-4055-8D55-795F939CC5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61013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25432251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http://schemas.microsoft.com/office/2006/metadata/properties"/>
    <ds:schemaRef ds:uri="2f5c8543-cf23-4718-a3b8-32b0a91d511a"/>
    <ds:schemaRef ds:uri="96e82a89-ba48-4728-b345-cf206dbec8f1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8626A1FC-C66A-44D7-9680-C1C5F311E4F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40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Incrementi di immobilizzi iscritti a bilancio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crementi di immobilizzi iscritti a bilancio.</dc:title>
  <dc:creator>Meyer Raphael (KOM-PGA-VSF)</dc:creator>
  <cp:lastModifiedBy>Stefan Weigel (PAR-EPS)</cp:lastModifiedBy>
  <cp:revision>58</cp:revision>
  <dcterms:created xsi:type="dcterms:W3CDTF">2020-09-30T11:00:09Z</dcterms:created>
  <dcterms:modified xsi:type="dcterms:W3CDTF">2024-02-28T09:33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